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1" r:id="rId2"/>
  </p:sldIdLst>
  <p:sldSz cx="10693400" cy="7556500"/>
  <p:notesSz cx="6858000" cy="9144000"/>
  <p:embeddedFontLst>
    <p:embeddedFont>
      <p:font typeface="DM Sans" pitchFamily="2" charset="0"/>
      <p:regular r:id="rId3"/>
      <p:bold r:id="rId4"/>
      <p:italic r:id="rId5"/>
      <p:boldItalic r:id="rId6"/>
    </p:embeddedFont>
    <p:embeddedFont>
      <p:font typeface="DM Sans Black" pitchFamily="2" charset="0"/>
      <p:bold r:id="rId7"/>
      <p:boldItalic r:id="rId8"/>
    </p:embeddedFont>
    <p:embeddedFont>
      <p:font typeface="DM Sans Medium" pitchFamily="2" charset="0"/>
      <p:regular r:id="rId9"/>
      <p:italic r:id="rId1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3544E"/>
    <a:srgbClr val="B24819"/>
    <a:srgbClr val="FFF4D5"/>
    <a:srgbClr val="FEFD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82" autoAdjust="0"/>
    <p:restoredTop sz="94622" autoAdjust="0"/>
  </p:normalViewPr>
  <p:slideViewPr>
    <p:cSldViewPr>
      <p:cViewPr varScale="1">
        <p:scale>
          <a:sx n="96" d="100"/>
          <a:sy n="96" d="100"/>
        </p:scale>
        <p:origin x="918" y="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theme" Target="theme/theme1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presProps" Target="presProps.xml"/><Relationship Id="rId5" Type="http://schemas.openxmlformats.org/officeDocument/2006/relationships/font" Target="fonts/font3.fntdata"/><Relationship Id="rId10" Type="http://schemas.openxmlformats.org/officeDocument/2006/relationships/font" Target="fonts/font8.fntdata"/><Relationship Id="rId4" Type="http://schemas.openxmlformats.org/officeDocument/2006/relationships/font" Target="fonts/font2.fntdata"/><Relationship Id="rId9" Type="http://schemas.openxmlformats.org/officeDocument/2006/relationships/font" Target="fonts/font7.fntdata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2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2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2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1/2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33F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Newsletter #1">
            <a:extLst>
              <a:ext uri="{FF2B5EF4-FFF2-40B4-BE49-F238E27FC236}">
                <a16:creationId xmlns:a16="http://schemas.microsoft.com/office/drawing/2014/main" id="{7606A537-6A5D-000B-2879-15BB7670D02A}"/>
              </a:ext>
            </a:extLst>
          </p:cNvPr>
          <p:cNvGrpSpPr/>
          <p:nvPr/>
        </p:nvGrpSpPr>
        <p:grpSpPr>
          <a:xfrm>
            <a:off x="0" y="300063"/>
            <a:ext cx="10692000" cy="7159305"/>
            <a:chOff x="0" y="300063"/>
            <a:chExt cx="10692000" cy="7159305"/>
          </a:xfrm>
        </p:grpSpPr>
        <p:sp>
          <p:nvSpPr>
            <p:cNvPr id="3" name="Freeform 3"/>
            <p:cNvSpPr/>
            <p:nvPr/>
          </p:nvSpPr>
          <p:spPr>
            <a:xfrm>
              <a:off x="300763" y="300063"/>
              <a:ext cx="10091874" cy="2182137"/>
            </a:xfrm>
            <a:prstGeom prst="roundRect">
              <a:avLst>
                <a:gd name="adj" fmla="val 2699"/>
              </a:avLst>
            </a:prstGeom>
            <a:solidFill>
              <a:srgbClr val="FFFCF4"/>
            </a:solid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6DA59AB4-811C-4AAB-3AE4-CBF49EFCCE86}"/>
                </a:ext>
              </a:extLst>
            </p:cNvPr>
            <p:cNvGrpSpPr/>
            <p:nvPr/>
          </p:nvGrpSpPr>
          <p:grpSpPr>
            <a:xfrm>
              <a:off x="609564" y="471340"/>
              <a:ext cx="9474272" cy="3024000"/>
              <a:chOff x="635725" y="471340"/>
              <a:chExt cx="9474272" cy="3024000"/>
            </a:xfrm>
          </p:grpSpPr>
          <p:sp>
            <p:nvSpPr>
              <p:cNvPr id="5" name="Freeform 5"/>
              <p:cNvSpPr/>
              <p:nvPr/>
            </p:nvSpPr>
            <p:spPr>
              <a:xfrm>
                <a:off x="7132664" y="471340"/>
                <a:ext cx="2977333" cy="3024000"/>
              </a:xfrm>
              <a:custGeom>
                <a:avLst/>
                <a:gdLst/>
                <a:ahLst/>
                <a:cxnLst/>
                <a:rect l="l" t="t" r="r" b="b"/>
                <a:pathLst>
                  <a:path w="2977333" h="3024000">
                    <a:moveTo>
                      <a:pt x="0" y="0"/>
                    </a:moveTo>
                    <a:lnTo>
                      <a:pt x="2977333" y="0"/>
                    </a:lnTo>
                    <a:lnTo>
                      <a:pt x="2977333" y="3024000"/>
                    </a:lnTo>
                    <a:lnTo>
                      <a:pt x="0" y="30240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" name="Freeform 6"/>
              <p:cNvSpPr/>
              <p:nvPr/>
            </p:nvSpPr>
            <p:spPr>
              <a:xfrm>
                <a:off x="635725" y="471340"/>
                <a:ext cx="2048115" cy="3024000"/>
              </a:xfrm>
              <a:custGeom>
                <a:avLst/>
                <a:gdLst/>
                <a:ahLst/>
                <a:cxnLst/>
                <a:rect l="l" t="t" r="r" b="b"/>
                <a:pathLst>
                  <a:path w="2048115" h="3024000">
                    <a:moveTo>
                      <a:pt x="0" y="0"/>
                    </a:moveTo>
                    <a:lnTo>
                      <a:pt x="2048115" y="0"/>
                    </a:lnTo>
                    <a:lnTo>
                      <a:pt x="2048115" y="3024000"/>
                    </a:lnTo>
                    <a:lnTo>
                      <a:pt x="0" y="30240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sp>
          <p:nvSpPr>
            <p:cNvPr id="8" name="Mask"/>
            <p:cNvSpPr/>
            <p:nvPr/>
          </p:nvSpPr>
          <p:spPr>
            <a:xfrm>
              <a:off x="0" y="2480318"/>
              <a:ext cx="10692000" cy="860352"/>
            </a:xfrm>
            <a:custGeom>
              <a:avLst/>
              <a:gdLst/>
              <a:ahLst/>
              <a:cxnLst/>
              <a:rect l="l" t="t" r="r" b="b"/>
              <a:pathLst>
                <a:path w="5419220" h="436068">
                  <a:moveTo>
                    <a:pt x="0" y="0"/>
                  </a:moveTo>
                  <a:lnTo>
                    <a:pt x="5419220" y="0"/>
                  </a:lnTo>
                  <a:lnTo>
                    <a:pt x="5419220" y="436068"/>
                  </a:lnTo>
                  <a:lnTo>
                    <a:pt x="0" y="436068"/>
                  </a:lnTo>
                  <a:close/>
                </a:path>
              </a:pathLst>
            </a:custGeom>
            <a:solidFill>
              <a:srgbClr val="133F54"/>
            </a:solid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0712A603-ABF8-80F1-48BE-67801EF32778}"/>
                </a:ext>
              </a:extLst>
            </p:cNvPr>
            <p:cNvGrpSpPr/>
            <p:nvPr/>
          </p:nvGrpSpPr>
          <p:grpSpPr>
            <a:xfrm>
              <a:off x="296002" y="2684884"/>
              <a:ext cx="10091874" cy="4575053"/>
              <a:chOff x="296002" y="2684884"/>
              <a:chExt cx="10091874" cy="4575053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300764" y="2851357"/>
                <a:ext cx="10082349" cy="4408580"/>
              </a:xfrm>
              <a:prstGeom prst="roundRect">
                <a:avLst>
                  <a:gd name="adj" fmla="val 2013"/>
                </a:avLst>
              </a:prstGeom>
              <a:solidFill>
                <a:srgbClr val="FFFCF4"/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F475CA04-06F2-2B4D-1E11-E8BCBD4D7727}"/>
                  </a:ext>
                </a:extLst>
              </p:cNvPr>
              <p:cNvSpPr/>
              <p:nvPr/>
            </p:nvSpPr>
            <p:spPr>
              <a:xfrm>
                <a:off x="296002" y="2684884"/>
                <a:ext cx="10091874" cy="329576"/>
              </a:xfrm>
              <a:custGeom>
                <a:avLst/>
                <a:gdLst>
                  <a:gd name="connsiteX0" fmla="*/ 54930 w 10091874"/>
                  <a:gd name="connsiteY0" fmla="*/ 0 h 329576"/>
                  <a:gd name="connsiteX1" fmla="*/ 10036944 w 10091874"/>
                  <a:gd name="connsiteY1" fmla="*/ 0 h 329576"/>
                  <a:gd name="connsiteX2" fmla="*/ 10091874 w 10091874"/>
                  <a:gd name="connsiteY2" fmla="*/ 54930 h 329576"/>
                  <a:gd name="connsiteX3" fmla="*/ 10091874 w 10091874"/>
                  <a:gd name="connsiteY3" fmla="*/ 157304 h 329576"/>
                  <a:gd name="connsiteX4" fmla="*/ 10091874 w 10091874"/>
                  <a:gd name="connsiteY4" fmla="*/ 274646 h 329576"/>
                  <a:gd name="connsiteX5" fmla="*/ 10091874 w 10091874"/>
                  <a:gd name="connsiteY5" fmla="*/ 329575 h 329576"/>
                  <a:gd name="connsiteX6" fmla="*/ 10036949 w 10091874"/>
                  <a:gd name="connsiteY6" fmla="*/ 329575 h 329576"/>
                  <a:gd name="connsiteX7" fmla="*/ 10036944 w 10091874"/>
                  <a:gd name="connsiteY7" fmla="*/ 329576 h 329576"/>
                  <a:gd name="connsiteX8" fmla="*/ 54930 w 10091874"/>
                  <a:gd name="connsiteY8" fmla="*/ 329576 h 329576"/>
                  <a:gd name="connsiteX9" fmla="*/ 54925 w 10091874"/>
                  <a:gd name="connsiteY9" fmla="*/ 329575 h 329576"/>
                  <a:gd name="connsiteX10" fmla="*/ 0 w 10091874"/>
                  <a:gd name="connsiteY10" fmla="*/ 329575 h 329576"/>
                  <a:gd name="connsiteX11" fmla="*/ 0 w 10091874"/>
                  <a:gd name="connsiteY11" fmla="*/ 274646 h 329576"/>
                  <a:gd name="connsiteX12" fmla="*/ 0 w 10091874"/>
                  <a:gd name="connsiteY12" fmla="*/ 157304 h 329576"/>
                  <a:gd name="connsiteX13" fmla="*/ 0 w 10091874"/>
                  <a:gd name="connsiteY13" fmla="*/ 54930 h 329576"/>
                  <a:gd name="connsiteX14" fmla="*/ 54930 w 10091874"/>
                  <a:gd name="connsiteY14" fmla="*/ 0 h 329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091874" h="329576">
                    <a:moveTo>
                      <a:pt x="54930" y="0"/>
                    </a:moveTo>
                    <a:lnTo>
                      <a:pt x="10036944" y="0"/>
                    </a:lnTo>
                    <a:cubicBezTo>
                      <a:pt x="10067281" y="0"/>
                      <a:pt x="10091874" y="24593"/>
                      <a:pt x="10091874" y="54930"/>
                    </a:cubicBezTo>
                    <a:lnTo>
                      <a:pt x="10091874" y="157304"/>
                    </a:lnTo>
                    <a:lnTo>
                      <a:pt x="10091874" y="274646"/>
                    </a:lnTo>
                    <a:lnTo>
                      <a:pt x="10091874" y="329575"/>
                    </a:lnTo>
                    <a:lnTo>
                      <a:pt x="10036949" y="329575"/>
                    </a:lnTo>
                    <a:lnTo>
                      <a:pt x="10036944" y="329576"/>
                    </a:lnTo>
                    <a:lnTo>
                      <a:pt x="54930" y="329576"/>
                    </a:lnTo>
                    <a:lnTo>
                      <a:pt x="54925" y="329575"/>
                    </a:lnTo>
                    <a:lnTo>
                      <a:pt x="0" y="329575"/>
                    </a:lnTo>
                    <a:lnTo>
                      <a:pt x="0" y="274646"/>
                    </a:lnTo>
                    <a:lnTo>
                      <a:pt x="0" y="157304"/>
                    </a:lnTo>
                    <a:lnTo>
                      <a:pt x="0" y="54930"/>
                    </a:lnTo>
                    <a:cubicBezTo>
                      <a:pt x="0" y="24593"/>
                      <a:pt x="24593" y="0"/>
                      <a:pt x="54930" y="0"/>
                    </a:cubicBezTo>
                    <a:close/>
                  </a:path>
                </a:pathLst>
              </a:custGeom>
              <a:solidFill>
                <a:srgbClr val="FFF4D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3" name="AutoShape 13"/>
              <p:cNvSpPr/>
              <p:nvPr/>
            </p:nvSpPr>
            <p:spPr>
              <a:xfrm>
                <a:off x="300764" y="3014462"/>
                <a:ext cx="10082349" cy="0"/>
              </a:xfrm>
              <a:prstGeom prst="line">
                <a:avLst/>
              </a:prstGeom>
              <a:ln w="6350" cap="flat">
                <a:solidFill>
                  <a:srgbClr val="133F54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4" name="AutoShape 14"/>
              <p:cNvSpPr/>
              <p:nvPr/>
            </p:nvSpPr>
            <p:spPr>
              <a:xfrm>
                <a:off x="300764" y="3341037"/>
                <a:ext cx="10082349" cy="0"/>
              </a:xfrm>
              <a:prstGeom prst="line">
                <a:avLst/>
              </a:prstGeom>
              <a:ln w="6350" cap="flat">
                <a:solidFill>
                  <a:srgbClr val="133F54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5" name="AutoShape 15"/>
              <p:cNvSpPr/>
              <p:nvPr/>
            </p:nvSpPr>
            <p:spPr>
              <a:xfrm>
                <a:off x="300764" y="3667612"/>
                <a:ext cx="10082349" cy="0"/>
              </a:xfrm>
              <a:prstGeom prst="line">
                <a:avLst/>
              </a:prstGeom>
              <a:ln w="6350" cap="flat">
                <a:solidFill>
                  <a:srgbClr val="133F54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6" name="AutoShape 16"/>
              <p:cNvSpPr/>
              <p:nvPr/>
            </p:nvSpPr>
            <p:spPr>
              <a:xfrm>
                <a:off x="300764" y="3994187"/>
                <a:ext cx="10082349" cy="0"/>
              </a:xfrm>
              <a:prstGeom prst="line">
                <a:avLst/>
              </a:prstGeom>
              <a:ln w="6350" cap="flat">
                <a:solidFill>
                  <a:srgbClr val="133F54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7" name="AutoShape 17"/>
              <p:cNvSpPr/>
              <p:nvPr/>
            </p:nvSpPr>
            <p:spPr>
              <a:xfrm>
                <a:off x="300764" y="4320762"/>
                <a:ext cx="10082349" cy="0"/>
              </a:xfrm>
              <a:prstGeom prst="line">
                <a:avLst/>
              </a:prstGeom>
              <a:ln w="6350" cap="flat">
                <a:solidFill>
                  <a:srgbClr val="133F54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" name="AutoShape 18"/>
              <p:cNvSpPr/>
              <p:nvPr/>
            </p:nvSpPr>
            <p:spPr>
              <a:xfrm>
                <a:off x="300764" y="4647337"/>
                <a:ext cx="10082349" cy="0"/>
              </a:xfrm>
              <a:prstGeom prst="line">
                <a:avLst/>
              </a:prstGeom>
              <a:ln w="6350" cap="flat">
                <a:solidFill>
                  <a:srgbClr val="133F54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9" name="AutoShape 19"/>
              <p:cNvSpPr/>
              <p:nvPr/>
            </p:nvSpPr>
            <p:spPr>
              <a:xfrm>
                <a:off x="300764" y="4973912"/>
                <a:ext cx="10082349" cy="0"/>
              </a:xfrm>
              <a:prstGeom prst="line">
                <a:avLst/>
              </a:prstGeom>
              <a:ln w="6350" cap="flat">
                <a:solidFill>
                  <a:srgbClr val="133F54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0" name="AutoShape 20"/>
              <p:cNvSpPr/>
              <p:nvPr/>
            </p:nvSpPr>
            <p:spPr>
              <a:xfrm>
                <a:off x="300764" y="5300487"/>
                <a:ext cx="10082349" cy="0"/>
              </a:xfrm>
              <a:prstGeom prst="line">
                <a:avLst/>
              </a:prstGeom>
              <a:ln w="6350" cap="flat">
                <a:solidFill>
                  <a:srgbClr val="133F54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1" name="AutoShape 21"/>
              <p:cNvSpPr/>
              <p:nvPr/>
            </p:nvSpPr>
            <p:spPr>
              <a:xfrm>
                <a:off x="300764" y="5627062"/>
                <a:ext cx="10082349" cy="0"/>
              </a:xfrm>
              <a:prstGeom prst="line">
                <a:avLst/>
              </a:prstGeom>
              <a:ln w="6350" cap="flat">
                <a:solidFill>
                  <a:srgbClr val="133F54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2" name="AutoShape 22"/>
              <p:cNvSpPr/>
              <p:nvPr/>
            </p:nvSpPr>
            <p:spPr>
              <a:xfrm>
                <a:off x="300764" y="5953637"/>
                <a:ext cx="10082349" cy="0"/>
              </a:xfrm>
              <a:prstGeom prst="line">
                <a:avLst/>
              </a:prstGeom>
              <a:ln w="6350" cap="flat">
                <a:solidFill>
                  <a:srgbClr val="133F54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3" name="AutoShape 23"/>
              <p:cNvSpPr/>
              <p:nvPr/>
            </p:nvSpPr>
            <p:spPr>
              <a:xfrm>
                <a:off x="300764" y="6280212"/>
                <a:ext cx="10082349" cy="0"/>
              </a:xfrm>
              <a:prstGeom prst="line">
                <a:avLst/>
              </a:prstGeom>
              <a:ln w="6350" cap="flat">
                <a:solidFill>
                  <a:srgbClr val="133F54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4" name="AutoShape 24"/>
              <p:cNvSpPr/>
              <p:nvPr/>
            </p:nvSpPr>
            <p:spPr>
              <a:xfrm>
                <a:off x="300764" y="6606787"/>
                <a:ext cx="10082349" cy="0"/>
              </a:xfrm>
              <a:prstGeom prst="line">
                <a:avLst/>
              </a:prstGeom>
              <a:ln w="6350" cap="flat">
                <a:solidFill>
                  <a:srgbClr val="133F54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5" name="AutoShape 25"/>
              <p:cNvSpPr/>
              <p:nvPr/>
            </p:nvSpPr>
            <p:spPr>
              <a:xfrm>
                <a:off x="300764" y="6933362"/>
                <a:ext cx="10082349" cy="0"/>
              </a:xfrm>
              <a:prstGeom prst="line">
                <a:avLst/>
              </a:prstGeom>
              <a:ln w="6350" cap="flat">
                <a:solidFill>
                  <a:srgbClr val="133F54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6" name="AutoShape 26"/>
              <p:cNvSpPr/>
              <p:nvPr/>
            </p:nvSpPr>
            <p:spPr>
              <a:xfrm>
                <a:off x="2821351" y="2684885"/>
                <a:ext cx="0" cy="4570289"/>
              </a:xfrm>
              <a:prstGeom prst="line">
                <a:avLst/>
              </a:prstGeom>
              <a:ln w="6350" cap="flat">
                <a:solidFill>
                  <a:srgbClr val="133F54">
                    <a:alpha val="6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7" name="AutoShape 27"/>
              <p:cNvSpPr/>
              <p:nvPr/>
            </p:nvSpPr>
            <p:spPr>
              <a:xfrm>
                <a:off x="5341938" y="2684885"/>
                <a:ext cx="0" cy="4570289"/>
              </a:xfrm>
              <a:prstGeom prst="line">
                <a:avLst/>
              </a:prstGeom>
              <a:ln w="6350" cap="flat">
                <a:solidFill>
                  <a:srgbClr val="133F54">
                    <a:alpha val="6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8" name="AutoShape 28"/>
              <p:cNvSpPr/>
              <p:nvPr/>
            </p:nvSpPr>
            <p:spPr>
              <a:xfrm>
                <a:off x="7862525" y="2684885"/>
                <a:ext cx="0" cy="4570289"/>
              </a:xfrm>
              <a:prstGeom prst="line">
                <a:avLst/>
              </a:prstGeom>
              <a:ln w="6350" cap="flat">
                <a:solidFill>
                  <a:srgbClr val="133F54">
                    <a:alpha val="6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0" name="AutoShape 30"/>
              <p:cNvSpPr/>
              <p:nvPr/>
            </p:nvSpPr>
            <p:spPr>
              <a:xfrm>
                <a:off x="10387174" y="2684885"/>
                <a:ext cx="0" cy="4570289"/>
              </a:xfrm>
              <a:prstGeom prst="line">
                <a:avLst/>
              </a:prstGeom>
              <a:ln w="6350" cap="flat">
                <a:solidFill>
                  <a:srgbClr val="133F54">
                    <a:alpha val="6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8" name="TextBox 38"/>
              <p:cNvSpPr txBox="1"/>
              <p:nvPr/>
            </p:nvSpPr>
            <p:spPr>
              <a:xfrm>
                <a:off x="1281818" y="2772655"/>
                <a:ext cx="558478" cy="13849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1" indent="0" algn="ctr">
                  <a:spcBef>
                    <a:spcPct val="0"/>
                  </a:spcBef>
                </a:pPr>
                <a:r>
                  <a:rPr lang="en-US" sz="900" spc="18" dirty="0">
                    <a:solidFill>
                      <a:srgbClr val="133F54"/>
                    </a:solidFill>
                    <a:latin typeface="DM Sans Medium"/>
                    <a:ea typeface="DM Sans Medium"/>
                    <a:cs typeface="DM Sans Medium"/>
                    <a:sym typeface="DM Sans Medium"/>
                  </a:rPr>
                  <a:t>Full Name</a:t>
                </a:r>
              </a:p>
            </p:txBody>
          </p:sp>
          <p:sp>
            <p:nvSpPr>
              <p:cNvPr id="39" name="TextBox 39"/>
              <p:cNvSpPr txBox="1"/>
              <p:nvPr/>
            </p:nvSpPr>
            <p:spPr>
              <a:xfrm>
                <a:off x="3598636" y="2772655"/>
                <a:ext cx="966016" cy="13849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1" indent="0" algn="ctr">
                  <a:spcBef>
                    <a:spcPct val="0"/>
                  </a:spcBef>
                </a:pPr>
                <a:r>
                  <a:rPr lang="en-US" sz="900" spc="18" dirty="0">
                    <a:solidFill>
                      <a:srgbClr val="133F54"/>
                    </a:solidFill>
                    <a:latin typeface="DM Sans Medium"/>
                    <a:ea typeface="DM Sans Medium"/>
                    <a:cs typeface="DM Sans Medium"/>
                    <a:sym typeface="DM Sans Medium"/>
                  </a:rPr>
                  <a:t>Phone</a:t>
                </a:r>
              </a:p>
            </p:txBody>
          </p:sp>
          <p:sp>
            <p:nvSpPr>
              <p:cNvPr id="40" name="TextBox 40"/>
              <p:cNvSpPr txBox="1"/>
              <p:nvPr/>
            </p:nvSpPr>
            <p:spPr>
              <a:xfrm>
                <a:off x="6449217" y="2772655"/>
                <a:ext cx="306028" cy="13849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1" indent="0" algn="ctr">
                  <a:spcBef>
                    <a:spcPct val="0"/>
                  </a:spcBef>
                </a:pPr>
                <a:r>
                  <a:rPr lang="en-US" sz="900" spc="18" dirty="0">
                    <a:solidFill>
                      <a:srgbClr val="133F54"/>
                    </a:solidFill>
                    <a:latin typeface="DM Sans Medium"/>
                    <a:ea typeface="DM Sans Medium"/>
                    <a:cs typeface="DM Sans Medium"/>
                    <a:sym typeface="DM Sans Medium"/>
                  </a:rPr>
                  <a:t>Email</a:t>
                </a:r>
              </a:p>
            </p:txBody>
          </p:sp>
          <p:sp>
            <p:nvSpPr>
              <p:cNvPr id="41" name="TextBox 41"/>
              <p:cNvSpPr txBox="1"/>
              <p:nvPr/>
            </p:nvSpPr>
            <p:spPr>
              <a:xfrm>
                <a:off x="8617268" y="2772655"/>
                <a:ext cx="1011101" cy="13849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1" indent="0" algn="ctr">
                  <a:spcBef>
                    <a:spcPct val="0"/>
                  </a:spcBef>
                </a:pPr>
                <a:r>
                  <a:rPr lang="en-US" sz="900" spc="18" dirty="0">
                    <a:solidFill>
                      <a:srgbClr val="133F54"/>
                    </a:solidFill>
                    <a:latin typeface="DM Sans Medium"/>
                    <a:ea typeface="DM Sans Medium"/>
                    <a:cs typeface="DM Sans Medium"/>
                    <a:sym typeface="DM Sans Medium"/>
                  </a:rPr>
                  <a:t>Topics of Interest</a:t>
                </a:r>
              </a:p>
            </p:txBody>
          </p: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DE503F84-1739-F0BC-E5C5-C41ACF42FE98}"/>
                </a:ext>
              </a:extLst>
            </p:cNvPr>
            <p:cNvGrpSpPr/>
            <p:nvPr/>
          </p:nvGrpSpPr>
          <p:grpSpPr>
            <a:xfrm>
              <a:off x="2557331" y="835381"/>
              <a:ext cx="5577338" cy="997019"/>
              <a:chOff x="2557331" y="835381"/>
              <a:chExt cx="5577338" cy="997019"/>
            </a:xfrm>
          </p:grpSpPr>
          <p:sp>
            <p:nvSpPr>
              <p:cNvPr id="42" name="TextBox 42"/>
              <p:cNvSpPr txBox="1"/>
              <p:nvPr/>
            </p:nvSpPr>
            <p:spPr>
              <a:xfrm>
                <a:off x="2557331" y="945459"/>
                <a:ext cx="5577338" cy="82285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US" sz="5347" spc="-267" dirty="0">
                    <a:solidFill>
                      <a:srgbClr val="84311C"/>
                    </a:solidFill>
                    <a:latin typeface="DM Sans Black" pitchFamily="2" charset="0"/>
                    <a:ea typeface="DM Sans Heavy"/>
                    <a:cs typeface="DM Sans Heavy"/>
                    <a:sym typeface="DM Sans Heavy"/>
                  </a:rPr>
                  <a:t>NEWSLETTER</a:t>
                </a:r>
              </a:p>
            </p:txBody>
          </p:sp>
          <p:sp>
            <p:nvSpPr>
              <p:cNvPr id="43" name="TextBox 43"/>
              <p:cNvSpPr txBox="1"/>
              <p:nvPr/>
            </p:nvSpPr>
            <p:spPr>
              <a:xfrm>
                <a:off x="4302350" y="835381"/>
                <a:ext cx="2087301" cy="18466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US" sz="1200" b="1" dirty="0">
                    <a:solidFill>
                      <a:srgbClr val="4A3222">
                        <a:alpha val="80000"/>
                      </a:srgbClr>
                    </a:solidFill>
                    <a:latin typeface="DM Sans" pitchFamily="2" charset="0"/>
                    <a:ea typeface="DM Sans Bold"/>
                    <a:cs typeface="DM Sans Bold"/>
                    <a:sym typeface="DM Sans Bold"/>
                  </a:rPr>
                  <a:t>SIGN UP SHEET</a:t>
                </a:r>
              </a:p>
            </p:txBody>
          </p:sp>
          <p:sp>
            <p:nvSpPr>
              <p:cNvPr id="44" name="TextBox 44"/>
              <p:cNvSpPr txBox="1"/>
              <p:nvPr/>
            </p:nvSpPr>
            <p:spPr>
              <a:xfrm>
                <a:off x="3107340" y="1647734"/>
                <a:ext cx="4477321" cy="18466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US" sz="1200" dirty="0">
                    <a:solidFill>
                      <a:srgbClr val="4A3222">
                        <a:alpha val="80000"/>
                      </a:srgbClr>
                    </a:solidFill>
                    <a:latin typeface="DM Sans"/>
                    <a:ea typeface="DM Sans"/>
                    <a:cs typeface="DM Sans"/>
                    <a:sym typeface="DM Sans"/>
                  </a:rPr>
                  <a:t>Enjoy personalized content tailored to your interests</a:t>
                </a:r>
              </a:p>
            </p:txBody>
          </p:sp>
        </p:grpSp>
        <p:sp>
          <p:nvSpPr>
            <p:cNvPr id="31" name="QuickSignup"/>
            <p:cNvSpPr/>
            <p:nvPr/>
          </p:nvSpPr>
          <p:spPr>
            <a:xfrm>
              <a:off x="5012726" y="7325017"/>
              <a:ext cx="666548" cy="134351"/>
            </a:xfrm>
            <a:custGeom>
              <a:avLst/>
              <a:gdLst/>
              <a:ahLst/>
              <a:cxnLst/>
              <a:rect l="l" t="t" r="r" b="b"/>
              <a:pathLst>
                <a:path w="666548" h="134351">
                  <a:moveTo>
                    <a:pt x="0" y="0"/>
                  </a:moveTo>
                  <a:lnTo>
                    <a:pt x="666548" y="0"/>
                  </a:lnTo>
                  <a:lnTo>
                    <a:pt x="666548" y="134351"/>
                  </a:lnTo>
                  <a:lnTo>
                    <a:pt x="0" y="134351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>
                <a:alphaModFix amt="80000"/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9</TotalTime>
  <Words>18</Words>
  <Application>Microsoft Office PowerPoint</Application>
  <PresentationFormat>Custom</PresentationFormat>
  <Paragraphs>7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DM Sans Black</vt:lpstr>
      <vt:lpstr>DM Sans</vt:lpstr>
      <vt:lpstr>Arial</vt:lpstr>
      <vt:lpstr>Calibri</vt:lpstr>
      <vt:lpstr>DM Sans Medium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ili Cook Off, Newsletter, White Elephant (Landscape)</dc:title>
  <dc:creator>Hoang Anh</dc:creator>
  <cp:lastModifiedBy>Hoang Anh</cp:lastModifiedBy>
  <cp:revision>23</cp:revision>
  <dcterms:created xsi:type="dcterms:W3CDTF">2006-08-16T00:00:00Z</dcterms:created>
  <dcterms:modified xsi:type="dcterms:W3CDTF">2024-11-22T08:36:36Z</dcterms:modified>
  <dc:identifier>DAGWy0hRDF8</dc:identifier>
</cp:coreProperties>
</file>